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6" r:id="rId2"/>
    <p:sldId id="274" r:id="rId3"/>
    <p:sldId id="258" r:id="rId4"/>
    <p:sldId id="268" r:id="rId5"/>
    <p:sldId id="262" r:id="rId6"/>
    <p:sldId id="270" r:id="rId7"/>
    <p:sldId id="273" r:id="rId8"/>
    <p:sldId id="261" r:id="rId9"/>
    <p:sldId id="264" r:id="rId10"/>
    <p:sldId id="275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5F6A87-8D85-4C18-8BD7-564C8E896F8D}" v="113" dt="2021-08-18T18:09:03.62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0" d="100"/>
          <a:sy n="60" d="100"/>
        </p:scale>
        <p:origin x="1602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alesiarodriguez:Documents:IPFT-Instituto%20Parlamentario%20Ferm&#237;n%20Toro:Presentaci&#243;n%20FSS:Graficos%20Pres%20FSS%20IPF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810316375123802E-2"/>
          <c:y val="0.16666666666666699"/>
          <c:w val="0.91372860578056503"/>
          <c:h val="0.5859744094488189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5</c:f>
              <c:strCache>
                <c:ptCount val="1"/>
                <c:pt idx="0">
                  <c:v>% Mujeres en Sec Baja Productividad NO AFILIADAS a sistema de pensiones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solidFill>
                <a:srgbClr val="632523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C$4:$L$4</c:f>
              <c:strCache>
                <c:ptCount val="10"/>
                <c:pt idx="0">
                  <c:v>Promedio LAC</c:v>
                </c:pt>
                <c:pt idx="1">
                  <c:v>Bolivia</c:v>
                </c:pt>
                <c:pt idx="2">
                  <c:v>Perú</c:v>
                </c:pt>
                <c:pt idx="3">
                  <c:v>Chile</c:v>
                </c:pt>
                <c:pt idx="4">
                  <c:v>Uruguay</c:v>
                </c:pt>
                <c:pt idx="5">
                  <c:v>Brasil</c:v>
                </c:pt>
                <c:pt idx="6">
                  <c:v>Venezuela</c:v>
                </c:pt>
                <c:pt idx="7">
                  <c:v>Colombia</c:v>
                </c:pt>
                <c:pt idx="8">
                  <c:v>México</c:v>
                </c:pt>
                <c:pt idx="9">
                  <c:v>Ecuador</c:v>
                </c:pt>
              </c:strCache>
            </c:strRef>
          </c:cat>
          <c:val>
            <c:numRef>
              <c:f>Hoja1!$C$5:$L$5</c:f>
              <c:numCache>
                <c:formatCode>0</c:formatCode>
                <c:ptCount val="10"/>
                <c:pt idx="0">
                  <c:v>82</c:v>
                </c:pt>
                <c:pt idx="1">
                  <c:v>98</c:v>
                </c:pt>
                <c:pt idx="2">
                  <c:v>99</c:v>
                </c:pt>
                <c:pt idx="3">
                  <c:v>63</c:v>
                </c:pt>
                <c:pt idx="4">
                  <c:v>52</c:v>
                </c:pt>
                <c:pt idx="5">
                  <c:v>63</c:v>
                </c:pt>
                <c:pt idx="6">
                  <c:v>90</c:v>
                </c:pt>
                <c:pt idx="7">
                  <c:v>90</c:v>
                </c:pt>
                <c:pt idx="8">
                  <c:v>95</c:v>
                </c:pt>
                <c:pt idx="9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C6-4FD7-8567-B0A06D2FD45A}"/>
            </c:ext>
          </c:extLst>
        </c:ser>
        <c:ser>
          <c:idx val="1"/>
          <c:order val="1"/>
          <c:tx>
            <c:strRef>
              <c:f>Hoja1!$B$6</c:f>
              <c:strCache>
                <c:ptCount val="1"/>
                <c:pt idx="0">
                  <c:v>% Mujeres en Sec Baja Productividad AFILIADAS a sistema de pensiones</c:v>
                </c:pt>
              </c:strCache>
            </c:strRef>
          </c:tx>
          <c:spPr>
            <a:solidFill>
              <a:srgbClr val="4F81BD"/>
            </a:solidFill>
            <a:ln>
              <a:solidFill>
                <a:srgbClr val="4F81BD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C$4:$L$4</c:f>
              <c:strCache>
                <c:ptCount val="10"/>
                <c:pt idx="0">
                  <c:v>Promedio LAC</c:v>
                </c:pt>
                <c:pt idx="1">
                  <c:v>Bolivia</c:v>
                </c:pt>
                <c:pt idx="2">
                  <c:v>Perú</c:v>
                </c:pt>
                <c:pt idx="3">
                  <c:v>Chile</c:v>
                </c:pt>
                <c:pt idx="4">
                  <c:v>Uruguay</c:v>
                </c:pt>
                <c:pt idx="5">
                  <c:v>Brasil</c:v>
                </c:pt>
                <c:pt idx="6">
                  <c:v>Venezuela</c:v>
                </c:pt>
                <c:pt idx="7">
                  <c:v>Colombia</c:v>
                </c:pt>
                <c:pt idx="8">
                  <c:v>México</c:v>
                </c:pt>
                <c:pt idx="9">
                  <c:v>Ecuador</c:v>
                </c:pt>
              </c:strCache>
            </c:strRef>
          </c:cat>
          <c:val>
            <c:numRef>
              <c:f>Hoja1!$C$6:$L$6</c:f>
              <c:numCache>
                <c:formatCode>0</c:formatCode>
                <c:ptCount val="10"/>
                <c:pt idx="0">
                  <c:v>18</c:v>
                </c:pt>
                <c:pt idx="1">
                  <c:v>2</c:v>
                </c:pt>
                <c:pt idx="2">
                  <c:v>1</c:v>
                </c:pt>
                <c:pt idx="3">
                  <c:v>37</c:v>
                </c:pt>
                <c:pt idx="4">
                  <c:v>48</c:v>
                </c:pt>
                <c:pt idx="5">
                  <c:v>37</c:v>
                </c:pt>
                <c:pt idx="6">
                  <c:v>10</c:v>
                </c:pt>
                <c:pt idx="7">
                  <c:v>10</c:v>
                </c:pt>
                <c:pt idx="8">
                  <c:v>5</c:v>
                </c:pt>
                <c:pt idx="9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C6-4FD7-8567-B0A06D2FD4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75906664"/>
        <c:axId val="-2058559080"/>
      </c:barChart>
      <c:catAx>
        <c:axId val="-20759066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058559080"/>
        <c:crosses val="autoZero"/>
        <c:auto val="1"/>
        <c:lblAlgn val="ctr"/>
        <c:lblOffset val="100"/>
        <c:noMultiLvlLbl val="0"/>
      </c:catAx>
      <c:valAx>
        <c:axId val="-205855908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-2075906664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txPr>
    <a:bodyPr/>
    <a:lstStyle/>
    <a:p>
      <a:pPr>
        <a:defRPr>
          <a:latin typeface="Rockwell"/>
          <a:cs typeface="Rockwell"/>
        </a:defRPr>
      </a:pPr>
      <a:endParaRPr lang="es-MX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A806CB-F096-7D49-A8A1-92124040D10F}" type="datetimeFigureOut">
              <a:rPr lang="es-ES" smtClean="0"/>
              <a:t>18/08/2021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3B063C-DEAD-A74F-B642-4AD52560178C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27422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3B063C-DEAD-A74F-B642-4AD52560178C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69749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4624668"/>
            <a:ext cx="4038600" cy="933450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5562599"/>
            <a:ext cx="4038600" cy="748553"/>
          </a:xfr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6425640"/>
            <a:ext cx="1232647" cy="365125"/>
          </a:xfrm>
        </p:spPr>
        <p:txBody>
          <a:bodyPr/>
          <a:lstStyle>
            <a:lvl1pPr algn="l">
              <a:defRPr/>
            </a:lvl1pPr>
          </a:lstStyle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153" y="6425640"/>
            <a:ext cx="2617694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2575" y="228600"/>
            <a:ext cx="4235450" cy="4187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4624388" y="2377440"/>
            <a:ext cx="2057400" cy="20391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24891" y="174812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24388" y="228600"/>
            <a:ext cx="2057400" cy="203911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6802438" y="2377440"/>
            <a:ext cx="2057400" cy="2039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502920" y="1985963"/>
            <a:ext cx="3657413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502920" y="4164965"/>
            <a:ext cx="3657413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4410075" y="1985963"/>
            <a:ext cx="3657600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4410075" y="4169664"/>
            <a:ext cx="3657600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166847" y="282573"/>
            <a:ext cx="685800" cy="3022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228600"/>
            <a:ext cx="3451225" cy="6345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5" y="2571750"/>
            <a:ext cx="3255264" cy="1162050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8775" y="273050"/>
            <a:ext cx="4597399" cy="585311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3" y="3733800"/>
            <a:ext cx="3255264" cy="23923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6423585"/>
            <a:ext cx="1537447" cy="365125"/>
          </a:xfrm>
        </p:spPr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59305" y="6423585"/>
            <a:ext cx="3316941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1" y="174812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166847" y="282573"/>
            <a:ext cx="685800" cy="3022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9404" y="3124200"/>
            <a:ext cx="3898272" cy="871538"/>
          </a:xfrm>
        </p:spPr>
        <p:txBody>
          <a:bodyPr anchor="b">
            <a:normAutofit/>
          </a:bodyPr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228600"/>
            <a:ext cx="3460658" cy="63452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69404" y="3995737"/>
            <a:ext cx="3898272" cy="214788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6423585"/>
            <a:ext cx="1537447" cy="365125"/>
          </a:xfrm>
        </p:spPr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91000" y="6423585"/>
            <a:ext cx="300513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990110" y="3370730"/>
            <a:ext cx="220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4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5" y="4424082"/>
            <a:ext cx="6191157" cy="833718"/>
          </a:xfrm>
        </p:spPr>
        <p:txBody>
          <a:bodyPr anchor="b">
            <a:normAutofit/>
          </a:bodyPr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5" y="228600"/>
            <a:ext cx="6378389" cy="41879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6505" y="5257799"/>
            <a:ext cx="6191157" cy="885825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6802438" y="2377440"/>
            <a:ext cx="2057400" cy="20391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327212" y="4632792"/>
            <a:ext cx="220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4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4" y="228600"/>
            <a:ext cx="6387167" cy="6345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4" y="2571750"/>
            <a:ext cx="6181611" cy="1162050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4" y="3733800"/>
            <a:ext cx="6179566" cy="23923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12262" y="6235607"/>
            <a:ext cx="134839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5" y="6235607"/>
            <a:ext cx="46481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1" y="174812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237494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802438" y="4535424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228600"/>
            <a:ext cx="4235450" cy="6345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4" y="2571750"/>
            <a:ext cx="4016633" cy="1162050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4" y="3733800"/>
            <a:ext cx="4015304" cy="23923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048000" y="6235607"/>
            <a:ext cx="1348398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5" y="6235607"/>
            <a:ext cx="259070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1" y="174812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1" name="Rectangle 10"/>
          <p:cNvSpPr/>
          <p:nvPr/>
        </p:nvSpPr>
        <p:spPr>
          <a:xfrm>
            <a:off x="4624388" y="4534726"/>
            <a:ext cx="2057400" cy="20391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624388" y="22860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24388" y="2381663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803136" y="2381662"/>
            <a:ext cx="2057400" cy="418795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166847" y="282573"/>
            <a:ext cx="685800" cy="3022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3124200"/>
            <a:ext cx="3108960" cy="871538"/>
          </a:xfrm>
        </p:spPr>
        <p:txBody>
          <a:bodyPr anchor="b">
            <a:normAutofit/>
          </a:bodyPr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5" y="2365248"/>
            <a:ext cx="4240119" cy="41879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0" y="3995737"/>
            <a:ext cx="3108960" cy="2147888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6423585"/>
            <a:ext cx="1537447" cy="365125"/>
          </a:xfrm>
        </p:spPr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91000" y="6423585"/>
            <a:ext cx="3005138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750361" y="3370730"/>
            <a:ext cx="220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4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277905" y="22860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460625" y="22860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9" name="TextBox 8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210550" y="282574"/>
            <a:ext cx="642097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68235" y="282574"/>
            <a:ext cx="91440" cy="1600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166847" y="282573"/>
            <a:ext cx="685800" cy="3022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95772" y="954742"/>
            <a:ext cx="681318" cy="5171422"/>
          </a:xfrm>
        </p:spPr>
        <p:txBody>
          <a:bodyPr vert="eaVert" anchor="t" anchorCtr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58756"/>
            <a:ext cx="6858000" cy="5184869"/>
          </a:xfrm>
        </p:spPr>
        <p:txBody>
          <a:bodyPr vert="eaVert"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 rot="16200000">
            <a:off x="8593111" y="561668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4" y="134471"/>
            <a:ext cx="7556313" cy="995082"/>
          </a:xfrm>
        </p:spPr>
        <p:txBody>
          <a:bodyPr anchor="b" anchorCtr="0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98518" y="1129553"/>
            <a:ext cx="7558960" cy="774700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4624668"/>
            <a:ext cx="4038600" cy="933450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5562599"/>
            <a:ext cx="4038600" cy="748553"/>
          </a:xfr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6425640"/>
            <a:ext cx="1232647" cy="365125"/>
          </a:xfrm>
        </p:spPr>
        <p:txBody>
          <a:bodyPr/>
          <a:lstStyle>
            <a:lvl1pPr algn="l">
              <a:defRPr/>
            </a:lvl1pPr>
          </a:lstStyle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153" y="6425640"/>
            <a:ext cx="2617694" cy="365125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2575" y="228600"/>
            <a:ext cx="4235450" cy="4187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4624388" y="2377440"/>
            <a:ext cx="2057400" cy="20391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4624388" y="22860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237744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250" y="1779494"/>
            <a:ext cx="3086100" cy="2040905"/>
          </a:xfrm>
        </p:spPr>
        <p:txBody>
          <a:bodyPr lIns="45720" tIns="45720" rIns="45720" anchor="t">
            <a:noAutofit/>
          </a:bodyPr>
          <a:lstStyle>
            <a:lvl1pPr marL="0" indent="0" algn="ctr">
              <a:spcBef>
                <a:spcPts val="600"/>
              </a:spcBef>
              <a:buNone/>
              <a:defRPr sz="4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4891" y="174812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8907" y="228600"/>
            <a:ext cx="8200930" cy="6345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3124200"/>
            <a:ext cx="5638800" cy="1362075"/>
          </a:xfrm>
        </p:spPr>
        <p:txBody>
          <a:bodyPr anchor="b" anchorCtr="0">
            <a:norm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0" y="4495800"/>
            <a:ext cx="5638800" cy="150018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300"/>
              </a:spcBef>
              <a:buNone/>
              <a:defRPr sz="14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906" y="6248774"/>
            <a:ext cx="1474694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6000" y="6248774"/>
            <a:ext cx="5638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5800" y="6248774"/>
            <a:ext cx="554038" cy="365125"/>
          </a:xfrm>
        </p:spPr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003612" y="3110754"/>
            <a:ext cx="26090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9" name="Rectangle 8"/>
          <p:cNvSpPr/>
          <p:nvPr/>
        </p:nvSpPr>
        <p:spPr>
          <a:xfrm>
            <a:off x="285750" y="228600"/>
            <a:ext cx="212725" cy="63452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210550" y="282574"/>
            <a:ext cx="642097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8068235" y="282574"/>
            <a:ext cx="91440" cy="1600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8518" y="1985963"/>
            <a:ext cx="3657600" cy="4140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9878" y="1985963"/>
            <a:ext cx="3657600" cy="4140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541" y="2447365"/>
            <a:ext cx="3657600" cy="367879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99878" y="2447365"/>
            <a:ext cx="3657600" cy="367879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7541" y="2070847"/>
            <a:ext cx="3657600" cy="322729"/>
          </a:xfrm>
          <a:prstGeom prst="rect">
            <a:avLst/>
          </a:prstGeom>
          <a:solidFill>
            <a:schemeClr val="accent3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99878" y="2070847"/>
            <a:ext cx="3657600" cy="32272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, Top and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8517" y="1985963"/>
            <a:ext cx="7569157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498517" y="4164965"/>
            <a:ext cx="7569157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14" name="Rectangle 13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05800" y="242234"/>
            <a:ext cx="554038" cy="365125"/>
          </a:xfrm>
        </p:spPr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66847" y="282574"/>
            <a:ext cx="685800" cy="1600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23185" y="22860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0075" y="1985963"/>
            <a:ext cx="3657600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5"/>
          </p:nvPr>
        </p:nvSpPr>
        <p:spPr>
          <a:xfrm>
            <a:off x="498518" y="1985963"/>
            <a:ext cx="3657600" cy="4140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6"/>
          </p:nvPr>
        </p:nvSpPr>
        <p:spPr>
          <a:xfrm>
            <a:off x="4410075" y="4169664"/>
            <a:ext cx="3657600" cy="196596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20425CC-BCFC-4F17-B742-A1A22454EE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246961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24" imgW="421" imgH="423" progId="TCLayout.ActiveDocument.1">
                  <p:embed/>
                </p:oleObj>
              </mc:Choice>
              <mc:Fallback>
                <p:oleObj name="Diapositiva de think-cell" r:id="rId2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8474" y="484094"/>
            <a:ext cx="7556313" cy="11161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8474" y="1981200"/>
            <a:ext cx="7556313" cy="4144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95247" y="642358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728701E-CAF4-4159-9B3E-41C86DFFA30D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1706" y="6423585"/>
            <a:ext cx="61228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242234"/>
            <a:ext cx="5540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fld id="{162F1D00-BD13-4404-86B0-79703945A0A7}" type="slidenum">
              <a:rPr lang="en-US" smtClean="0"/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l" defTabSz="914400" rtl="0" eaLnBrk="1" latinLnBrk="0" hangingPunct="1">
        <a:spcBef>
          <a:spcPct val="0"/>
        </a:spcBef>
        <a:buNone/>
        <a:defRPr sz="3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2000"/>
        </a:spcBef>
        <a:buClr>
          <a:schemeClr val="accent1"/>
        </a:buClr>
        <a:buSzPct val="75000"/>
        <a:buFont typeface="Wingdings" pitchFamily="2" charset="2"/>
        <a:buChar char="n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>
          <a:schemeClr val="accent1"/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377950" indent="-22860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603375" indent="-228600" algn="l" defTabSz="91440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18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830388" indent="-22860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18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1800" kern="120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16490" y="4686351"/>
            <a:ext cx="8361455" cy="1273940"/>
          </a:xfrm>
        </p:spPr>
        <p:txBody>
          <a:bodyPr>
            <a:noAutofit/>
          </a:bodyPr>
          <a:lstStyle/>
          <a:p>
            <a:pPr algn="r"/>
            <a:r>
              <a:rPr lang="es-E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“Seguridad Social con perspectiva de género: responsabilidad tripartita”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248137" y="5769321"/>
            <a:ext cx="6561870" cy="748553"/>
          </a:xfrm>
        </p:spPr>
        <p:txBody>
          <a:bodyPr>
            <a:noAutofit/>
          </a:bodyPr>
          <a:lstStyle/>
          <a:p>
            <a:pPr algn="r"/>
            <a:r>
              <a:rPr lang="es-ES" sz="2000" dirty="0"/>
              <a:t>Fernando Solís </a:t>
            </a:r>
            <a:r>
              <a:rPr lang="es-ES" sz="2000" dirty="0" err="1"/>
              <a:t>Soberón</a:t>
            </a:r>
            <a:endParaRPr lang="es-ES" sz="2000" dirty="0"/>
          </a:p>
          <a:p>
            <a:pPr algn="r">
              <a:spcBef>
                <a:spcPts val="900"/>
              </a:spcBef>
            </a:pPr>
            <a:r>
              <a:rPr lang="es-ES" sz="1050" dirty="0"/>
              <a:t>Economista,  Experto en Pensiones y  Seguridad Social</a:t>
            </a:r>
          </a:p>
          <a:p>
            <a:pPr algn="r"/>
            <a:r>
              <a:rPr lang="es-ES" sz="1050" dirty="0"/>
              <a:t>Ex-Presidente de la CONSAR (Comisión Nacional del  Sistema de Ahorro para el Retiro) en México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/>
          <a:srcRect b="9107"/>
          <a:stretch/>
        </p:blipFill>
        <p:spPr>
          <a:xfrm>
            <a:off x="0" y="5521740"/>
            <a:ext cx="1470153" cy="133626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9597" y="2661756"/>
            <a:ext cx="1768221" cy="1506262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178541" y="5264925"/>
            <a:ext cx="135165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sentación para </a:t>
            </a:r>
          </a:p>
        </p:txBody>
      </p:sp>
    </p:spTree>
    <p:extLst>
      <p:ext uri="{BB962C8B-B14F-4D97-AF65-F5344CB8AC3E}">
        <p14:creationId xmlns:p14="http://schemas.microsoft.com/office/powerpoint/2010/main" val="2889757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4" y="308903"/>
            <a:ext cx="7556313" cy="1116106"/>
          </a:xfrm>
        </p:spPr>
        <p:txBody>
          <a:bodyPr/>
          <a:lstStyle/>
          <a:p>
            <a:r>
              <a:rPr lang="es-ES" dirty="0"/>
              <a:t>Reflexiones Finales </a:t>
            </a:r>
            <a:br>
              <a:rPr lang="es-ES" dirty="0"/>
            </a:br>
            <a:r>
              <a:rPr lang="es-ES" sz="2400" dirty="0">
                <a:solidFill>
                  <a:schemeClr val="accent3"/>
                </a:solidFill>
              </a:rPr>
              <a:t>Con visión de Políticas Públicas y Empresariales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498474" y="1425009"/>
            <a:ext cx="7926869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900"/>
              </a:spcBef>
              <a:buFont typeface="Arial"/>
              <a:buChar char="•"/>
            </a:pPr>
            <a:r>
              <a:rPr lang="es-ES" sz="1400" dirty="0"/>
              <a:t>Incentivos para mejorar la vida laboral de las mujeres: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Política de guarderías.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Fomentar mayor escolaridad.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Fomentar esquemas de trabajo en casa o híbridos.</a:t>
            </a:r>
          </a:p>
          <a:p>
            <a:pPr marL="285750" indent="-285750">
              <a:spcBef>
                <a:spcPts val="900"/>
              </a:spcBef>
              <a:buFont typeface="Arial"/>
              <a:buChar char="•"/>
            </a:pPr>
            <a:endParaRPr lang="es-ES" sz="1400" dirty="0"/>
          </a:p>
          <a:p>
            <a:pPr marL="285750" indent="-285750">
              <a:spcBef>
                <a:spcPts val="900"/>
              </a:spcBef>
              <a:buFont typeface="Arial"/>
              <a:buChar char="•"/>
            </a:pPr>
            <a:r>
              <a:rPr lang="es-ES" sz="1400" dirty="0"/>
              <a:t>Incorporar a mujeres a los sistemas de pensiones contributivos: 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Contribuir patrones y estado durante periodos de cuidado de hijos 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Tablas de mortalidad unisex, 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Fomentar esquemas de contribución para trabajadoras por cuenta propia como pueden ser estímulos y deducciones fiscales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Normativas para a” igual empleo igual condiciones” para reducir brechas salariales que afecten ahorros previsionales a las mujeres</a:t>
            </a:r>
          </a:p>
          <a:p>
            <a:pPr marL="2857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endParaRPr lang="es-ES" sz="1400" dirty="0"/>
          </a:p>
          <a:p>
            <a:pPr marL="2857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s-ES" sz="1400" dirty="0"/>
              <a:t>Dada mayor proporción de mujeres en sectores de bajos ingresos y cuenta propia: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Mayor integración de los sistemas contributivos y no contributivos para buscar aumentar cobertura.</a:t>
            </a:r>
          </a:p>
          <a:p>
            <a:pPr marL="742950" lvl="1" indent="-285750">
              <a:buFont typeface="Arial"/>
              <a:buChar char="•"/>
            </a:pPr>
            <a:r>
              <a:rPr lang="es-ES" sz="1200" dirty="0"/>
              <a:t>Vinculación entre esquemas de protección social (salud, accidentes de trabajo, </a:t>
            </a:r>
            <a:r>
              <a:rPr lang="es-ES" sz="1200" dirty="0" err="1"/>
              <a:t>etc</a:t>
            </a:r>
            <a:r>
              <a:rPr lang="es-ES" sz="1200" dirty="0"/>
              <a:t>) para trabajadores por cuenta propia.</a:t>
            </a:r>
          </a:p>
          <a:p>
            <a:pPr marL="285750" indent="-285750">
              <a:spcBef>
                <a:spcPts val="900"/>
              </a:spcBef>
              <a:buFont typeface="Arial"/>
              <a:buChar char="•"/>
            </a:pPr>
            <a:endParaRPr lang="es-ES" sz="1400" dirty="0"/>
          </a:p>
          <a:p>
            <a:pPr marL="285750" indent="-285750">
              <a:spcBef>
                <a:spcPts val="900"/>
              </a:spcBef>
              <a:buFont typeface="Arial"/>
              <a:buChar char="•"/>
            </a:pPr>
            <a:r>
              <a:rPr lang="es-ES" sz="1400" dirty="0"/>
              <a:t>Evaluar sistemas de cuidado con los previsionales para el reconocimiento del trabajo no remunerado de cuidado que realizan las mujeres.</a:t>
            </a:r>
          </a:p>
        </p:txBody>
      </p:sp>
    </p:spTree>
    <p:extLst>
      <p:ext uri="{BB962C8B-B14F-4D97-AF65-F5344CB8AC3E}">
        <p14:creationId xmlns:p14="http://schemas.microsoft.com/office/powerpoint/2010/main" val="3715687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4" y="308903"/>
            <a:ext cx="7556313" cy="1116106"/>
          </a:xfrm>
        </p:spPr>
        <p:txBody>
          <a:bodyPr/>
          <a:lstStyle/>
          <a:p>
            <a:r>
              <a:rPr lang="es-ES" dirty="0"/>
              <a:t>Contenido</a:t>
            </a:r>
            <a:endParaRPr lang="es-ES" sz="2400" dirty="0">
              <a:solidFill>
                <a:schemeClr val="accent3"/>
              </a:solidFill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788308" y="2547943"/>
            <a:ext cx="7459722" cy="2516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1500"/>
              </a:spcBef>
              <a:buFont typeface="+mj-lt"/>
              <a:buAutoNum type="arabicPeriod"/>
            </a:pPr>
            <a:r>
              <a:rPr lang="es-ES" sz="2000" dirty="0">
                <a:solidFill>
                  <a:schemeClr val="accent3"/>
                </a:solidFill>
              </a:rPr>
              <a:t>Contexto en protección social y perspectiva de género.</a:t>
            </a:r>
          </a:p>
          <a:p>
            <a:pPr marL="457200" indent="-457200">
              <a:spcBef>
                <a:spcPts val="1500"/>
              </a:spcBef>
              <a:buFont typeface="+mj-lt"/>
              <a:buAutoNum type="arabicPeriod"/>
            </a:pPr>
            <a:r>
              <a:rPr lang="es-ES" sz="2000" dirty="0">
                <a:solidFill>
                  <a:schemeClr val="accent3"/>
                </a:solidFill>
              </a:rPr>
              <a:t>Desigualdad de género en pensiones.</a:t>
            </a:r>
          </a:p>
          <a:p>
            <a:pPr marL="457200" indent="-457200">
              <a:spcBef>
                <a:spcPts val="1500"/>
              </a:spcBef>
              <a:buFont typeface="+mj-lt"/>
              <a:buAutoNum type="arabicPeriod"/>
            </a:pPr>
            <a:r>
              <a:rPr lang="es-ES" sz="2000" dirty="0">
                <a:solidFill>
                  <a:schemeClr val="accent3"/>
                </a:solidFill>
              </a:rPr>
              <a:t>Áreas claves en diseño de Sistemas de Pensiones ante brechas de género.</a:t>
            </a:r>
          </a:p>
          <a:p>
            <a:pPr marL="457200" indent="-457200">
              <a:spcBef>
                <a:spcPts val="1500"/>
              </a:spcBef>
              <a:buFont typeface="+mj-lt"/>
              <a:buAutoNum type="arabicPeriod"/>
            </a:pPr>
            <a:r>
              <a:rPr lang="es-ES" sz="2000" dirty="0">
                <a:solidFill>
                  <a:schemeClr val="accent3"/>
                </a:solidFill>
              </a:rPr>
              <a:t>Reflexiones Finales con visión de políticas públicas y empresariales.</a:t>
            </a:r>
          </a:p>
        </p:txBody>
      </p:sp>
    </p:spTree>
    <p:extLst>
      <p:ext uri="{BB962C8B-B14F-4D97-AF65-F5344CB8AC3E}">
        <p14:creationId xmlns:p14="http://schemas.microsoft.com/office/powerpoint/2010/main" val="42327730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4" y="265106"/>
            <a:ext cx="7556313" cy="1116106"/>
          </a:xfrm>
        </p:spPr>
        <p:txBody>
          <a:bodyPr/>
          <a:lstStyle/>
          <a:p>
            <a:r>
              <a:rPr lang="es-ES" dirty="0"/>
              <a:t>Poniendo en contexto </a:t>
            </a:r>
            <a:r>
              <a:rPr lang="mr-IN" dirty="0"/>
              <a:t>…</a:t>
            </a:r>
            <a:r>
              <a:rPr lang="es-ES_tradnl" dirty="0"/>
              <a:t>.</a:t>
            </a:r>
            <a:br>
              <a:rPr lang="es-ES_tradnl" dirty="0"/>
            </a:br>
            <a:r>
              <a:rPr lang="es-ES" sz="3200" dirty="0"/>
              <a:t>Latinoamérica y el Caribe</a:t>
            </a:r>
            <a:br>
              <a:rPr lang="es-ES" sz="3200" dirty="0"/>
            </a:br>
            <a:r>
              <a:rPr lang="es-ES" sz="2400" dirty="0">
                <a:solidFill>
                  <a:schemeClr val="accent3"/>
                </a:solidFill>
              </a:rPr>
              <a:t>Pre-Pandemia y Pandemia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7078" y="3139231"/>
            <a:ext cx="4689843" cy="2461957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445823" y="2023065"/>
            <a:ext cx="842828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rgbClr val="526DB0"/>
                </a:solidFill>
              </a:rPr>
              <a:t>Pre-Pandemia: </a:t>
            </a:r>
          </a:p>
          <a:p>
            <a:r>
              <a:rPr lang="es-E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lo el 67,6% de la población de América Latina tenía acceso a una cobertura efectiva de al menos un beneficio de la protección social.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326112" y="5669426"/>
            <a:ext cx="12932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900" dirty="0">
                <a:solidFill>
                  <a:schemeClr val="bg1">
                    <a:lumMod val="50000"/>
                  </a:schemeClr>
                </a:solidFill>
              </a:rPr>
              <a:t>Fuente: OIT, </a:t>
            </a:r>
            <a:r>
              <a:rPr lang="es-ES" sz="900" dirty="0" err="1">
                <a:solidFill>
                  <a:schemeClr val="bg1">
                    <a:lumMod val="50000"/>
                  </a:schemeClr>
                </a:solidFill>
              </a:rPr>
              <a:t>Swiss</a:t>
            </a:r>
            <a:r>
              <a:rPr lang="es-ES" sz="900" dirty="0">
                <a:solidFill>
                  <a:schemeClr val="bg1">
                    <a:lumMod val="50000"/>
                  </a:schemeClr>
                </a:solidFill>
              </a:rPr>
              <a:t> Re</a:t>
            </a:r>
          </a:p>
        </p:txBody>
      </p:sp>
    </p:spTree>
    <p:extLst>
      <p:ext uri="{BB962C8B-B14F-4D97-AF65-F5344CB8AC3E}">
        <p14:creationId xmlns:p14="http://schemas.microsoft.com/office/powerpoint/2010/main" val="16830024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to 21" hidden="1">
            <a:extLst>
              <a:ext uri="{FF2B5EF4-FFF2-40B4-BE49-F238E27FC236}">
                <a16:creationId xmlns:a16="http://schemas.microsoft.com/office/drawing/2014/main" id="{E8B1853A-06C4-4A1E-8A2F-B885CFB12F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7402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4" y="265109"/>
            <a:ext cx="7556313" cy="1116106"/>
          </a:xfrm>
        </p:spPr>
        <p:txBody>
          <a:bodyPr vert="horz"/>
          <a:lstStyle/>
          <a:p>
            <a:r>
              <a:rPr lang="es-ES" sz="3200" dirty="0"/>
              <a:t>Protección Social, Seguridad Social </a:t>
            </a:r>
            <a:br>
              <a:rPr lang="es-ES" sz="3200" dirty="0"/>
            </a:br>
            <a:r>
              <a:rPr lang="es-ES" sz="3200" dirty="0"/>
              <a:t>y Pensiones </a:t>
            </a:r>
            <a:br>
              <a:rPr lang="es-ES" sz="3200" dirty="0"/>
            </a:br>
            <a:r>
              <a:rPr lang="es-ES" sz="2000" dirty="0">
                <a:solidFill>
                  <a:schemeClr val="accent3"/>
                </a:solidFill>
              </a:rPr>
              <a:t>Mapeando el escenario y evolución conceptual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1722595" y="2540268"/>
            <a:ext cx="1270050" cy="6569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/>
              <a:t>Políticas Sociales </a:t>
            </a:r>
          </a:p>
          <a:p>
            <a:pPr algn="ctr"/>
            <a:r>
              <a:rPr lang="es-ES" sz="900" dirty="0"/>
              <a:t>-Pobreza-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1722595" y="3802208"/>
            <a:ext cx="1270050" cy="65696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SEGURIDAD SOCIAL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1722595" y="5116138"/>
            <a:ext cx="1270050" cy="6569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/>
              <a:t>Políticas Sociales </a:t>
            </a:r>
          </a:p>
          <a:p>
            <a:pPr algn="ctr"/>
            <a:r>
              <a:rPr lang="es-ES" sz="1050" dirty="0"/>
              <a:t>- Sectoriales-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3461451" y="3802209"/>
            <a:ext cx="1007281" cy="656967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Previsión Social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3495404" y="2540268"/>
            <a:ext cx="1007281" cy="6569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Salud</a:t>
            </a:r>
          </a:p>
        </p:txBody>
      </p:sp>
      <p:sp>
        <p:nvSpPr>
          <p:cNvPr id="15" name="Rectángulo 14"/>
          <p:cNvSpPr/>
          <p:nvPr/>
        </p:nvSpPr>
        <p:spPr>
          <a:xfrm>
            <a:off x="3495404" y="5159936"/>
            <a:ext cx="1007281" cy="65696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Asistencia Social</a:t>
            </a:r>
          </a:p>
        </p:txBody>
      </p:sp>
      <p:sp>
        <p:nvSpPr>
          <p:cNvPr id="16" name="Elipse 15"/>
          <p:cNvSpPr/>
          <p:nvPr/>
        </p:nvSpPr>
        <p:spPr>
          <a:xfrm>
            <a:off x="4997761" y="4616560"/>
            <a:ext cx="1693401" cy="64877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/>
              <a:t>Cesantía en edad avanzada y vejez</a:t>
            </a:r>
          </a:p>
        </p:txBody>
      </p:sp>
      <p:sp>
        <p:nvSpPr>
          <p:cNvPr id="17" name="Elipse 16"/>
          <p:cNvSpPr/>
          <p:nvPr/>
        </p:nvSpPr>
        <p:spPr>
          <a:xfrm>
            <a:off x="4997761" y="3802208"/>
            <a:ext cx="1693401" cy="648774"/>
          </a:xfrm>
          <a:prstGeom prst="ellipse">
            <a:avLst/>
          </a:prstGeom>
          <a:solidFill>
            <a:schemeClr val="accent3"/>
          </a:solidFill>
          <a:ln>
            <a:solidFill>
              <a:srgbClr val="526DB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SISTEMA DE PENSIONES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7240750" y="3543806"/>
            <a:ext cx="1707270" cy="261610"/>
          </a:xfrm>
          <a:prstGeom prst="rect">
            <a:avLst/>
          </a:prstGeom>
          <a:noFill/>
          <a:ln>
            <a:solidFill>
              <a:srgbClr val="526DB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accent3">
                    <a:lumMod val="75000"/>
                  </a:schemeClr>
                </a:solidFill>
              </a:rPr>
              <a:t>CONTRIBUTIVO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7240751" y="4204497"/>
            <a:ext cx="1707270" cy="261610"/>
          </a:xfrm>
          <a:prstGeom prst="rect">
            <a:avLst/>
          </a:prstGeom>
          <a:noFill/>
          <a:ln>
            <a:solidFill>
              <a:srgbClr val="526DB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accent3">
                    <a:lumMod val="75000"/>
                  </a:schemeClr>
                </a:solidFill>
              </a:rPr>
              <a:t>NO- CONTRIBUTIVO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4284102" y="6061438"/>
            <a:ext cx="155911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chemeClr val="bg1">
                    <a:lumMod val="50000"/>
                  </a:schemeClr>
                </a:solidFill>
              </a:rPr>
              <a:t>Prestaciones Familiares</a:t>
            </a:r>
          </a:p>
        </p:txBody>
      </p:sp>
      <p:sp>
        <p:nvSpPr>
          <p:cNvPr id="19" name="Rectángulo 18"/>
          <p:cNvSpPr/>
          <p:nvPr/>
        </p:nvSpPr>
        <p:spPr>
          <a:xfrm rot="16200000">
            <a:off x="-877603" y="3889964"/>
            <a:ext cx="309950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_tradnl" sz="2000" b="1" dirty="0">
                <a:ln w="19050">
                  <a:solidFill>
                    <a:schemeClr val="bg1"/>
                  </a:solidFill>
                  <a:prstDash val="solid"/>
                </a:ln>
                <a:solidFill>
                  <a:srgbClr val="3D5185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PROTECCION SOCIAL</a:t>
            </a:r>
          </a:p>
        </p:txBody>
      </p:sp>
      <p:sp>
        <p:nvSpPr>
          <p:cNvPr id="20" name="Abrir llave 19"/>
          <p:cNvSpPr/>
          <p:nvPr/>
        </p:nvSpPr>
        <p:spPr>
          <a:xfrm>
            <a:off x="872203" y="2113271"/>
            <a:ext cx="379556" cy="4058590"/>
          </a:xfrm>
          <a:prstGeom prst="leftBrace">
            <a:avLst/>
          </a:prstGeom>
          <a:noFill/>
          <a:ln>
            <a:solidFill>
              <a:srgbClr val="526DB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24" name="Conector recto 23"/>
          <p:cNvCxnSpPr>
            <a:stCxn id="13" idx="3"/>
            <a:endCxn id="17" idx="2"/>
          </p:cNvCxnSpPr>
          <p:nvPr/>
        </p:nvCxnSpPr>
        <p:spPr>
          <a:xfrm flipV="1">
            <a:off x="4468732" y="4126595"/>
            <a:ext cx="529029" cy="4098"/>
          </a:xfrm>
          <a:prstGeom prst="line">
            <a:avLst/>
          </a:prstGeom>
          <a:ln>
            <a:solidFill>
              <a:srgbClr val="526DB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cto 27"/>
          <p:cNvCxnSpPr/>
          <p:nvPr/>
        </p:nvCxnSpPr>
        <p:spPr>
          <a:xfrm flipV="1">
            <a:off x="4502685" y="3197235"/>
            <a:ext cx="679706" cy="60497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/>
          <p:cNvCxnSpPr>
            <a:endCxn id="16" idx="2"/>
          </p:cNvCxnSpPr>
          <p:nvPr/>
        </p:nvCxnSpPr>
        <p:spPr>
          <a:xfrm>
            <a:off x="4284102" y="4275792"/>
            <a:ext cx="713659" cy="6651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/>
          <p:cNvCxnSpPr>
            <a:stCxn id="11" idx="3"/>
            <a:endCxn id="13" idx="1"/>
          </p:cNvCxnSpPr>
          <p:nvPr/>
        </p:nvCxnSpPr>
        <p:spPr>
          <a:xfrm>
            <a:off x="2992645" y="4130692"/>
            <a:ext cx="468806" cy="1"/>
          </a:xfrm>
          <a:prstGeom prst="line">
            <a:avLst/>
          </a:prstGeom>
          <a:ln>
            <a:solidFill>
              <a:srgbClr val="526DB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/>
          <p:cNvCxnSpPr/>
          <p:nvPr/>
        </p:nvCxnSpPr>
        <p:spPr>
          <a:xfrm flipV="1">
            <a:off x="2992645" y="3197235"/>
            <a:ext cx="502759" cy="60497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/>
          <p:cNvCxnSpPr/>
          <p:nvPr/>
        </p:nvCxnSpPr>
        <p:spPr>
          <a:xfrm>
            <a:off x="2992645" y="4459176"/>
            <a:ext cx="468806" cy="65696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cto 44"/>
          <p:cNvCxnSpPr>
            <a:endCxn id="11" idx="1"/>
          </p:cNvCxnSpPr>
          <p:nvPr/>
        </p:nvCxnSpPr>
        <p:spPr>
          <a:xfrm flipV="1">
            <a:off x="1109467" y="4130692"/>
            <a:ext cx="613128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46"/>
          <p:cNvCxnSpPr/>
          <p:nvPr/>
        </p:nvCxnSpPr>
        <p:spPr>
          <a:xfrm flipV="1">
            <a:off x="1109467" y="3197235"/>
            <a:ext cx="613128" cy="92936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/>
          <p:cNvCxnSpPr/>
          <p:nvPr/>
        </p:nvCxnSpPr>
        <p:spPr>
          <a:xfrm>
            <a:off x="1109467" y="4130693"/>
            <a:ext cx="613128" cy="98544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/>
          <p:cNvCxnSpPr>
            <a:stCxn id="15" idx="2"/>
          </p:cNvCxnSpPr>
          <p:nvPr/>
        </p:nvCxnSpPr>
        <p:spPr>
          <a:xfrm>
            <a:off x="3999045" y="5816903"/>
            <a:ext cx="285057" cy="24453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/>
          <p:cNvCxnSpPr>
            <a:stCxn id="7" idx="3"/>
          </p:cNvCxnSpPr>
          <p:nvPr/>
        </p:nvCxnSpPr>
        <p:spPr>
          <a:xfrm flipV="1">
            <a:off x="5843218" y="4466109"/>
            <a:ext cx="1397533" cy="171844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56"/>
          <p:cNvCxnSpPr>
            <a:stCxn id="17" idx="6"/>
          </p:cNvCxnSpPr>
          <p:nvPr/>
        </p:nvCxnSpPr>
        <p:spPr>
          <a:xfrm flipV="1">
            <a:off x="6691162" y="3805416"/>
            <a:ext cx="549588" cy="321179"/>
          </a:xfrm>
          <a:prstGeom prst="line">
            <a:avLst/>
          </a:prstGeom>
          <a:ln>
            <a:solidFill>
              <a:srgbClr val="526DB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/>
          <p:cNvCxnSpPr>
            <a:stCxn id="17" idx="6"/>
          </p:cNvCxnSpPr>
          <p:nvPr/>
        </p:nvCxnSpPr>
        <p:spPr>
          <a:xfrm>
            <a:off x="6691162" y="4126595"/>
            <a:ext cx="549588" cy="77902"/>
          </a:xfrm>
          <a:prstGeom prst="line">
            <a:avLst/>
          </a:prstGeom>
          <a:ln>
            <a:solidFill>
              <a:srgbClr val="526DB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Elipse 3"/>
          <p:cNvSpPr/>
          <p:nvPr/>
        </p:nvSpPr>
        <p:spPr>
          <a:xfrm>
            <a:off x="4997761" y="2872848"/>
            <a:ext cx="1693401" cy="648774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/>
              <a:t>Accidentes y Enfermedades Laborales </a:t>
            </a:r>
          </a:p>
        </p:txBody>
      </p:sp>
    </p:spTree>
    <p:extLst>
      <p:ext uri="{BB962C8B-B14F-4D97-AF65-F5344CB8AC3E}">
        <p14:creationId xmlns:p14="http://schemas.microsoft.com/office/powerpoint/2010/main" val="28245050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11561" y="181729"/>
            <a:ext cx="7556313" cy="1116106"/>
          </a:xfrm>
        </p:spPr>
        <p:txBody>
          <a:bodyPr/>
          <a:lstStyle/>
          <a:p>
            <a:r>
              <a:rPr lang="es-ES" sz="3200" dirty="0"/>
              <a:t>Desigualdad de Género en Pensiones</a:t>
            </a:r>
            <a:br>
              <a:rPr lang="es-ES" sz="3200" dirty="0"/>
            </a:br>
            <a:r>
              <a:rPr lang="es-ES" sz="2400" dirty="0">
                <a:solidFill>
                  <a:schemeClr val="accent3"/>
                </a:solidFill>
              </a:rPr>
              <a:t>Factores e Implicaciones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414007" y="2510515"/>
            <a:ext cx="19342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dirty="0">
                <a:solidFill>
                  <a:srgbClr val="526DB0"/>
                </a:solidFill>
              </a:rPr>
              <a:t>MERCADO LABORAL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6546685" y="2523122"/>
            <a:ext cx="2238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dirty="0">
                <a:solidFill>
                  <a:srgbClr val="526DB0"/>
                </a:solidFill>
              </a:rPr>
              <a:t>SISTEMA DE PENSIONES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3456570" y="2032943"/>
            <a:ext cx="23657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dirty="0">
                <a:solidFill>
                  <a:srgbClr val="526DB0"/>
                </a:solidFill>
              </a:rPr>
              <a:t>NATURALES/BIOLOGICAS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3960358" y="2276695"/>
            <a:ext cx="101822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04775" indent="-104775">
              <a:buFont typeface="Arial"/>
              <a:buChar char="•"/>
            </a:pPr>
            <a:r>
              <a:rPr lang="es-ES" sz="1050" dirty="0"/>
              <a:t>Maternidad</a:t>
            </a:r>
          </a:p>
          <a:p>
            <a:pPr marL="104775" indent="-104775">
              <a:buFont typeface="Arial"/>
              <a:buChar char="•"/>
            </a:pPr>
            <a:r>
              <a:rPr lang="es-ES" sz="1050" dirty="0"/>
              <a:t>Longevidad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3236022" y="5021733"/>
            <a:ext cx="30673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dirty="0">
                <a:solidFill>
                  <a:srgbClr val="526DB0"/>
                </a:solidFill>
              </a:rPr>
              <a:t>PENSIONES Y SEGURIDAD SOCIAL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309487" y="2880048"/>
            <a:ext cx="2467342" cy="9771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50" dirty="0"/>
              <a:t>Participación en el Mercado Laboral</a:t>
            </a:r>
          </a:p>
          <a:p>
            <a:pPr marL="365125" lvl="1" indent="-92075">
              <a:spcBef>
                <a:spcPts val="600"/>
              </a:spcBef>
              <a:buFont typeface="Arial"/>
              <a:buChar char="•"/>
            </a:pPr>
            <a:r>
              <a:rPr lang="es-ES" sz="1050" dirty="0"/>
              <a:t>Tipos de Empleo</a:t>
            </a:r>
          </a:p>
          <a:p>
            <a:pPr marL="365125" lvl="1" indent="-92075">
              <a:buFont typeface="Arial"/>
              <a:buChar char="•"/>
            </a:pPr>
            <a:r>
              <a:rPr lang="es-ES" sz="1050" dirty="0"/>
              <a:t>Informalidad</a:t>
            </a:r>
          </a:p>
          <a:p>
            <a:pPr marL="365125" lvl="1" indent="-92075">
              <a:buFont typeface="Arial"/>
              <a:buChar char="•"/>
            </a:pPr>
            <a:r>
              <a:rPr lang="es-ES" sz="1050" dirty="0"/>
              <a:t>Trayectoria Laboral</a:t>
            </a:r>
          </a:p>
          <a:p>
            <a:pPr marL="365125" lvl="1" indent="-92075">
              <a:buFont typeface="Arial"/>
              <a:buChar char="•"/>
            </a:pPr>
            <a:r>
              <a:rPr lang="es-ES" sz="1050" dirty="0"/>
              <a:t>Brechas Salariales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6923319" y="2864930"/>
            <a:ext cx="1608133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9388" indent="-104775">
              <a:buFont typeface="Arial"/>
              <a:buChar char="•"/>
            </a:pPr>
            <a:r>
              <a:rPr lang="es-ES" sz="1050" dirty="0"/>
              <a:t>Acceso</a:t>
            </a:r>
          </a:p>
          <a:p>
            <a:pPr marL="179388" indent="-104775">
              <a:buFont typeface="Arial"/>
              <a:buChar char="•"/>
            </a:pPr>
            <a:r>
              <a:rPr lang="es-ES" sz="1050" dirty="0"/>
              <a:t>Cálculo de Pensiones</a:t>
            </a:r>
          </a:p>
          <a:p>
            <a:pPr marL="179388" indent="-104775">
              <a:buFont typeface="Arial"/>
              <a:buChar char="•"/>
            </a:pPr>
            <a:r>
              <a:rPr lang="es-ES" sz="1050" dirty="0"/>
              <a:t>Edades de Retiro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3630583" y="5261824"/>
            <a:ext cx="19788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dirty="0">
                <a:solidFill>
                  <a:srgbClr val="526DB0"/>
                </a:solidFill>
              </a:rPr>
              <a:t>Impacto a las Mujeres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1513865" y="5616198"/>
            <a:ext cx="296747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s-ES" sz="1050" dirty="0"/>
              <a:t>Brechas de Cobertura de Activo y Pasivo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4921893" y="5585962"/>
            <a:ext cx="3674232" cy="607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s-ES" sz="1050" dirty="0"/>
              <a:t>Brecha en Monto de las Prestaciones:</a:t>
            </a:r>
          </a:p>
          <a:p>
            <a:pPr marL="742950" lvl="1" indent="-285750">
              <a:spcBef>
                <a:spcPts val="600"/>
              </a:spcBef>
              <a:buFont typeface="Arial"/>
              <a:buChar char="•"/>
            </a:pPr>
            <a:r>
              <a:rPr lang="es-ES" sz="900" dirty="0"/>
              <a:t>Niveles de suficiencia de pensiones para mujeres dada longevidad y cuidado-dependencia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2817871" y="3253924"/>
            <a:ext cx="381492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/>
            <a:r>
              <a:rPr lang="es-ES" sz="1000" dirty="0"/>
              <a:t>BRECHAS</a:t>
            </a:r>
          </a:p>
          <a:p>
            <a:pPr marL="271463" indent="-90488">
              <a:buFont typeface="Arial"/>
              <a:buChar char="•"/>
            </a:pPr>
            <a:r>
              <a:rPr lang="es-ES" sz="1000" dirty="0"/>
              <a:t>Vacíos Cotización Maternidad, Crianza y Cuidados</a:t>
            </a:r>
          </a:p>
          <a:p>
            <a:pPr marL="285750" indent="-104775">
              <a:buFont typeface="Arial"/>
              <a:buChar char="•"/>
            </a:pPr>
            <a:r>
              <a:rPr lang="es-ES" sz="1000" dirty="0"/>
              <a:t>Vacíos Cotización por desempleo de larga duración</a:t>
            </a:r>
          </a:p>
          <a:p>
            <a:pPr marL="285750" indent="-104775">
              <a:buFont typeface="Arial"/>
              <a:buChar char="•"/>
            </a:pPr>
            <a:r>
              <a:rPr lang="es-ES" sz="1000" dirty="0"/>
              <a:t>Vacíos totales de cotización</a:t>
            </a:r>
          </a:p>
          <a:p>
            <a:pPr marL="285750" indent="-104775">
              <a:buFont typeface="Arial"/>
              <a:buChar char="•"/>
            </a:pPr>
            <a:r>
              <a:rPr lang="es-ES" sz="1000" dirty="0"/>
              <a:t>Longevidad, dependencia, salud, suficiencia pensión</a:t>
            </a:r>
          </a:p>
        </p:txBody>
      </p:sp>
      <p:pic>
        <p:nvPicPr>
          <p:cNvPr id="21" name="Imagen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45264" y="1373430"/>
            <a:ext cx="629315" cy="524429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2667" y="1868357"/>
            <a:ext cx="728775" cy="581770"/>
          </a:xfrm>
          <a:prstGeom prst="rect">
            <a:avLst/>
          </a:prstGeom>
        </p:spPr>
      </p:pic>
      <p:sp>
        <p:nvSpPr>
          <p:cNvPr id="23" name="CuadroTexto 22"/>
          <p:cNvSpPr txBox="1"/>
          <p:nvPr/>
        </p:nvSpPr>
        <p:spPr>
          <a:xfrm>
            <a:off x="359687" y="5944800"/>
            <a:ext cx="295470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50" u="sng" dirty="0">
                <a:solidFill>
                  <a:schemeClr val="bg1">
                    <a:lumMod val="50000"/>
                  </a:schemeClr>
                </a:solidFill>
              </a:rPr>
              <a:t>Fuente</a:t>
            </a:r>
            <a:r>
              <a:rPr lang="es-ES" sz="1050" dirty="0">
                <a:solidFill>
                  <a:schemeClr val="bg1">
                    <a:lumMod val="50000"/>
                  </a:schemeClr>
                </a:solidFill>
              </a:rPr>
              <a:t>: INCLUSION </a:t>
            </a:r>
            <a:r>
              <a:rPr lang="es-ES" sz="1050" dirty="0" err="1">
                <a:solidFill>
                  <a:schemeClr val="bg1">
                    <a:lumMod val="50000"/>
                  </a:schemeClr>
                </a:solidFill>
              </a:rPr>
              <a:t>Consulting</a:t>
            </a:r>
            <a:r>
              <a:rPr lang="es-ES" sz="105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050" dirty="0" err="1">
                <a:solidFill>
                  <a:schemeClr val="bg1">
                    <a:lumMod val="50000"/>
                  </a:schemeClr>
                </a:solidFill>
              </a:rPr>
              <a:t>Group</a:t>
            </a:r>
            <a:r>
              <a:rPr lang="es-ES" sz="1050" dirty="0">
                <a:solidFill>
                  <a:schemeClr val="bg1">
                    <a:lumMod val="50000"/>
                  </a:schemeClr>
                </a:solidFill>
              </a:rPr>
              <a:t> (2020) </a:t>
            </a:r>
            <a:endParaRPr lang="es-E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31449" y="1868357"/>
            <a:ext cx="1012551" cy="567028"/>
          </a:xfrm>
          <a:prstGeom prst="rect">
            <a:avLst/>
          </a:prstGeom>
        </p:spPr>
      </p:pic>
      <p:sp>
        <p:nvSpPr>
          <p:cNvPr id="7" name="Flecha a la derecha con bandas 6"/>
          <p:cNvSpPr/>
          <p:nvPr/>
        </p:nvSpPr>
        <p:spPr>
          <a:xfrm rot="8185486">
            <a:off x="2423152" y="1924255"/>
            <a:ext cx="601390" cy="439543"/>
          </a:xfrm>
          <a:prstGeom prst="stripedRightArrow">
            <a:avLst>
              <a:gd name="adj1" fmla="val 50000"/>
              <a:gd name="adj2" fmla="val 43734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Flecha a la derecha con bandas 23"/>
          <p:cNvSpPr/>
          <p:nvPr/>
        </p:nvSpPr>
        <p:spPr>
          <a:xfrm rot="5400000">
            <a:off x="4430084" y="2838506"/>
            <a:ext cx="542058" cy="439543"/>
          </a:xfrm>
          <a:prstGeom prst="stripedRightArrow">
            <a:avLst>
              <a:gd name="adj1" fmla="val 50000"/>
              <a:gd name="adj2" fmla="val 43734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5" name="Flecha a la derecha con bandas 24"/>
          <p:cNvSpPr/>
          <p:nvPr/>
        </p:nvSpPr>
        <p:spPr>
          <a:xfrm rot="2780841">
            <a:off x="2356974" y="3278374"/>
            <a:ext cx="601390" cy="439543"/>
          </a:xfrm>
          <a:prstGeom prst="stripedRightArrow">
            <a:avLst>
              <a:gd name="adj1" fmla="val 50000"/>
              <a:gd name="adj2" fmla="val 43734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Flecha a la derecha con bandas 25"/>
          <p:cNvSpPr/>
          <p:nvPr/>
        </p:nvSpPr>
        <p:spPr>
          <a:xfrm rot="5400000">
            <a:off x="7151810" y="3847865"/>
            <a:ext cx="885130" cy="439543"/>
          </a:xfrm>
          <a:prstGeom prst="stripedRightArrow">
            <a:avLst>
              <a:gd name="adj1" fmla="val 50000"/>
              <a:gd name="adj2" fmla="val 43734"/>
            </a:avLst>
          </a:prstGeom>
          <a:solidFill>
            <a:schemeClr val="accent3"/>
          </a:solidFill>
          <a:ln>
            <a:solidFill>
              <a:srgbClr val="526DB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Pentágono 26"/>
          <p:cNvSpPr/>
          <p:nvPr/>
        </p:nvSpPr>
        <p:spPr>
          <a:xfrm rot="5400000">
            <a:off x="4542747" y="968357"/>
            <a:ext cx="372488" cy="7734268"/>
          </a:xfrm>
          <a:prstGeom prst="homePlate">
            <a:avLst/>
          </a:prstGeom>
          <a:solidFill>
            <a:srgbClr val="526DB0"/>
          </a:solidFill>
          <a:ln>
            <a:solidFill>
              <a:srgbClr val="526DB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Flecha a la derecha con bandas 27"/>
          <p:cNvSpPr/>
          <p:nvPr/>
        </p:nvSpPr>
        <p:spPr>
          <a:xfrm rot="5400000">
            <a:off x="4490685" y="4188812"/>
            <a:ext cx="420855" cy="439543"/>
          </a:xfrm>
          <a:prstGeom prst="stripedRightArrow">
            <a:avLst>
              <a:gd name="adj1" fmla="val 50000"/>
              <a:gd name="adj2" fmla="val 43734"/>
            </a:avLst>
          </a:prstGeom>
          <a:solidFill>
            <a:schemeClr val="accent3"/>
          </a:solidFill>
          <a:ln>
            <a:solidFill>
              <a:srgbClr val="526DB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30" name="Conector recto 29"/>
          <p:cNvCxnSpPr/>
          <p:nvPr/>
        </p:nvCxnSpPr>
        <p:spPr>
          <a:xfrm>
            <a:off x="6501726" y="1373430"/>
            <a:ext cx="0" cy="3185109"/>
          </a:xfrm>
          <a:prstGeom prst="line">
            <a:avLst/>
          </a:prstGeom>
          <a:ln w="38100" cmpd="sng">
            <a:solidFill>
              <a:srgbClr val="526DB0"/>
            </a:solidFill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Flecha curvada hacia abajo 30"/>
          <p:cNvSpPr/>
          <p:nvPr/>
        </p:nvSpPr>
        <p:spPr>
          <a:xfrm rot="5400000">
            <a:off x="6255620" y="5161273"/>
            <a:ext cx="546572" cy="358375"/>
          </a:xfrm>
          <a:prstGeom prst="curved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33" name="Flecha curvada hacia la derecha 32"/>
          <p:cNvSpPr/>
          <p:nvPr/>
        </p:nvSpPr>
        <p:spPr>
          <a:xfrm>
            <a:off x="2833732" y="5122624"/>
            <a:ext cx="332647" cy="491123"/>
          </a:xfrm>
          <a:prstGeom prst="curv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672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7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1" grpId="0" animBg="1"/>
      <p:bldP spid="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993" y="1766509"/>
            <a:ext cx="6126217" cy="3090377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3" y="235906"/>
            <a:ext cx="7545181" cy="1116106"/>
          </a:xfrm>
        </p:spPr>
        <p:txBody>
          <a:bodyPr/>
          <a:lstStyle/>
          <a:p>
            <a:r>
              <a:rPr lang="es-ES" sz="3200" dirty="0"/>
              <a:t>Feminización del Envejecimiento</a:t>
            </a:r>
            <a:br>
              <a:rPr lang="es-ES" sz="3200" dirty="0"/>
            </a:br>
            <a:r>
              <a:rPr lang="es-ES" sz="2400" dirty="0">
                <a:solidFill>
                  <a:schemeClr val="accent3"/>
                </a:solidFill>
              </a:rPr>
              <a:t>Impacto en Protección Social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668969" y="2587084"/>
            <a:ext cx="40465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dirty="0">
                <a:solidFill>
                  <a:schemeClr val="accent3"/>
                </a:solidFill>
              </a:rPr>
              <a:t>La población de 65 años y más está conformada mayoritariamente por mujeres. 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326112" y="6159314"/>
            <a:ext cx="114646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chemeClr val="bg1">
                    <a:lumMod val="50000"/>
                  </a:schemeClr>
                </a:solidFill>
              </a:rPr>
              <a:t>Fuente: CEPAL. ONU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1198166" y="1322602"/>
            <a:ext cx="590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err="1">
                <a:solidFill>
                  <a:srgbClr val="526DB0"/>
                </a:solidFill>
              </a:rPr>
              <a:t>América</a:t>
            </a:r>
            <a:r>
              <a:rPr lang="es-ES" sz="1200" dirty="0">
                <a:solidFill>
                  <a:srgbClr val="526DB0"/>
                </a:solidFill>
              </a:rPr>
              <a:t> Latina: </a:t>
            </a:r>
            <a:r>
              <a:rPr lang="es-ES" sz="1200" dirty="0"/>
              <a:t>proporción de personas de 65 años ó más del total de la población, por sexo, 1950-2050</a:t>
            </a:r>
          </a:p>
          <a:p>
            <a:pPr algn="ctr"/>
            <a:r>
              <a:rPr lang="es-ES" sz="1200" i="1" dirty="0"/>
              <a:t>(En porcentajes) </a:t>
            </a:r>
            <a:endParaRPr lang="es-ES" sz="1200" dirty="0"/>
          </a:p>
          <a:p>
            <a:pPr algn="ctr"/>
            <a:endParaRPr lang="es-ES" sz="1200" dirty="0"/>
          </a:p>
        </p:txBody>
      </p:sp>
      <p:sp>
        <p:nvSpPr>
          <p:cNvPr id="12" name="CuadroTexto 11"/>
          <p:cNvSpPr txBox="1"/>
          <p:nvPr/>
        </p:nvSpPr>
        <p:spPr>
          <a:xfrm>
            <a:off x="380692" y="4897700"/>
            <a:ext cx="837827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es-E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ás de la mitad de las mujeres están ocupadas en sectores de baja productividad y,  de estas, el </a:t>
            </a:r>
            <a:r>
              <a:rPr lang="es-E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82,2% no cotiza en ningún sistema de pensiones. 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es-E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 2017, el ingreso laboral medio de las mujeres en LAC </a:t>
            </a:r>
            <a:r>
              <a:rPr lang="es-E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quivalió al 80,9% del ingreso medio de los hombres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es-E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 promedio, las mujeres dedican menos horas al trabajo remunerado que los hombres</a:t>
            </a:r>
            <a:r>
              <a:rPr lang="es-E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y casi el 52% de las que tienen un trabajo formal se desempeñan en sectores en los que se cotiza poco para la vejez. </a:t>
            </a:r>
          </a:p>
          <a:p>
            <a:endParaRPr lang="es-E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4207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3" y="235906"/>
            <a:ext cx="7545181" cy="1116106"/>
          </a:xfrm>
        </p:spPr>
        <p:txBody>
          <a:bodyPr/>
          <a:lstStyle/>
          <a:p>
            <a:r>
              <a:rPr lang="es-ES" sz="2800" dirty="0"/>
              <a:t>Sectores Baja Productividad y </a:t>
            </a:r>
            <a:br>
              <a:rPr lang="es-ES" sz="2800" dirty="0"/>
            </a:br>
            <a:r>
              <a:rPr lang="es-ES" sz="2800" dirty="0"/>
              <a:t>Afiliación a Sistema de Pensiones</a:t>
            </a:r>
            <a:br>
              <a:rPr lang="es-ES" sz="2800" dirty="0"/>
            </a:br>
            <a:r>
              <a:rPr lang="es-ES" sz="2000" dirty="0">
                <a:solidFill>
                  <a:schemeClr val="accent3"/>
                </a:solidFill>
              </a:rPr>
              <a:t>% de Mujeres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1462600" y="2109002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52%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2373949" y="2109002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75%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3101245" y="2109002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69%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3712931" y="2110038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30%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4400491" y="2109002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37%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5163722" y="2109002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45%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5987483" y="2099611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44%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6599169" y="2099611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61%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7494480" y="2096923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56%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8161289" y="2096923"/>
            <a:ext cx="549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chemeClr val="accent3">
                    <a:lumMod val="75000"/>
                  </a:schemeClr>
                </a:solidFill>
              </a:rPr>
              <a:t>69%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326112" y="6100918"/>
            <a:ext cx="87205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chemeClr val="bg1">
                    <a:lumMod val="50000"/>
                  </a:schemeClr>
                </a:solidFill>
              </a:rPr>
              <a:t>Fuente: CEPAL</a:t>
            </a:r>
          </a:p>
        </p:txBody>
      </p:sp>
      <p:sp>
        <p:nvSpPr>
          <p:cNvPr id="7" name="CuadroTexto 6"/>
          <p:cNvSpPr txBox="1"/>
          <p:nvPr/>
        </p:nvSpPr>
        <p:spPr>
          <a:xfrm>
            <a:off x="103707" y="1730279"/>
            <a:ext cx="12063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050" dirty="0"/>
              <a:t>% Mujeres </a:t>
            </a:r>
          </a:p>
          <a:p>
            <a:pPr algn="r"/>
            <a:r>
              <a:rPr lang="es-ES" sz="1050" dirty="0"/>
              <a:t>en Sectores </a:t>
            </a:r>
          </a:p>
          <a:p>
            <a:pPr algn="r"/>
            <a:r>
              <a:rPr lang="es-ES" sz="1050" dirty="0"/>
              <a:t>de Baja Productividad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1926015" y="1795708"/>
            <a:ext cx="0" cy="3915402"/>
          </a:xfrm>
          <a:prstGeom prst="line">
            <a:avLst/>
          </a:prstGeom>
          <a:ln w="19050" cmpd="sng">
            <a:solidFill>
              <a:schemeClr val="tx2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/>
          <p:cNvCxnSpPr/>
          <p:nvPr/>
        </p:nvCxnSpPr>
        <p:spPr>
          <a:xfrm>
            <a:off x="240292" y="2525671"/>
            <a:ext cx="8703112" cy="1459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Gráfico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3016743"/>
              </p:ext>
            </p:extLst>
          </p:nvPr>
        </p:nvGraphicFramePr>
        <p:xfrm>
          <a:off x="585692" y="2088230"/>
          <a:ext cx="8445500" cy="438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5" name="Conector recto de flecha 34"/>
          <p:cNvCxnSpPr/>
          <p:nvPr/>
        </p:nvCxnSpPr>
        <p:spPr>
          <a:xfrm flipH="1">
            <a:off x="6147566" y="2575473"/>
            <a:ext cx="259394" cy="190327"/>
          </a:xfrm>
          <a:prstGeom prst="straightConnector1">
            <a:avLst/>
          </a:prstGeom>
          <a:ln>
            <a:solidFill>
              <a:srgbClr val="681417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de flecha 35"/>
          <p:cNvCxnSpPr/>
          <p:nvPr/>
        </p:nvCxnSpPr>
        <p:spPr>
          <a:xfrm flipH="1">
            <a:off x="7727222" y="2575742"/>
            <a:ext cx="259394" cy="176663"/>
          </a:xfrm>
          <a:prstGeom prst="straightConnector1">
            <a:avLst/>
          </a:prstGeom>
          <a:ln>
            <a:solidFill>
              <a:srgbClr val="681417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de flecha 36"/>
          <p:cNvCxnSpPr/>
          <p:nvPr/>
        </p:nvCxnSpPr>
        <p:spPr>
          <a:xfrm flipH="1">
            <a:off x="3232639" y="2540270"/>
            <a:ext cx="259394" cy="233856"/>
          </a:xfrm>
          <a:prstGeom prst="straightConnector1">
            <a:avLst/>
          </a:prstGeom>
          <a:ln>
            <a:solidFill>
              <a:srgbClr val="681417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8"/>
          <p:cNvCxnSpPr/>
          <p:nvPr/>
        </p:nvCxnSpPr>
        <p:spPr>
          <a:xfrm flipH="1">
            <a:off x="4634921" y="2575742"/>
            <a:ext cx="259394" cy="233856"/>
          </a:xfrm>
          <a:prstGeom prst="straightConnector1">
            <a:avLst/>
          </a:prstGeom>
          <a:ln>
            <a:solidFill>
              <a:srgbClr val="681417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61677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8474" y="242201"/>
            <a:ext cx="7556313" cy="1398495"/>
          </a:xfrm>
        </p:spPr>
        <p:txBody>
          <a:bodyPr/>
          <a:lstStyle/>
          <a:p>
            <a:r>
              <a:rPr lang="es-ES" sz="2800" dirty="0"/>
              <a:t>Efectos de la desigualdad de género en pension</a:t>
            </a:r>
            <a:r>
              <a:rPr lang="es-ES" sz="3200" dirty="0"/>
              <a:t>es </a:t>
            </a:r>
            <a:br>
              <a:rPr lang="es-ES" sz="3200" dirty="0"/>
            </a:br>
            <a:r>
              <a:rPr lang="es-ES" sz="2000" dirty="0">
                <a:solidFill>
                  <a:schemeClr val="accent3"/>
                </a:solidFill>
              </a:rPr>
              <a:t>En términos de PIB y Bienestar Social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6967" y="2660806"/>
            <a:ext cx="1389783" cy="904859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6720" y="2696582"/>
            <a:ext cx="1591862" cy="894424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6967" y="4748317"/>
            <a:ext cx="1299151" cy="864526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3671" y="2589254"/>
            <a:ext cx="1344079" cy="894424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96325" y="4730050"/>
            <a:ext cx="1291425" cy="804867"/>
          </a:xfrm>
          <a:prstGeom prst="rect">
            <a:avLst/>
          </a:prstGeom>
        </p:spPr>
      </p:pic>
      <p:sp>
        <p:nvSpPr>
          <p:cNvPr id="16" name="CuadroTexto 15"/>
          <p:cNvSpPr txBox="1"/>
          <p:nvPr/>
        </p:nvSpPr>
        <p:spPr>
          <a:xfrm>
            <a:off x="1876910" y="5727278"/>
            <a:ext cx="17223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/>
              <a:t>Menos ingresos familiares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1402882" y="3746131"/>
            <a:ext cx="267503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Pensión insuficiente para cubrir costos de cuidado-dependencia por mayor longevidad y más problemas de salud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6285516" y="5622511"/>
            <a:ext cx="2353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Financiamiento del déficit de pensiones vía presupuesto público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6599777" y="3774354"/>
            <a:ext cx="17170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Mayor dependencia en los programas sociales para financiamiento del consumo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4101766" y="3781907"/>
            <a:ext cx="203895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Limitada capacidad de consumo privado de la mujer pensionada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4101766" y="4897094"/>
            <a:ext cx="203895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es-ES" sz="1000" dirty="0"/>
              <a:t>Efecto en demanda agregada</a:t>
            </a:r>
          </a:p>
          <a:p>
            <a:pPr marL="171450" indent="-171450">
              <a:spcBef>
                <a:spcPts val="600"/>
              </a:spcBef>
              <a:buFont typeface="Arial"/>
              <a:buChar char="•"/>
            </a:pPr>
            <a:r>
              <a:rPr lang="es-ES" sz="1000" dirty="0"/>
              <a:t>Limitación al potencial de crecimiento económico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1384996" y="2115116"/>
            <a:ext cx="2503926" cy="474138"/>
          </a:xfrm>
          <a:prstGeom prst="rect">
            <a:avLst/>
          </a:prstGeom>
          <a:solidFill>
            <a:srgbClr val="526DB0"/>
          </a:solidFill>
          <a:ln>
            <a:solidFill>
              <a:srgbClr val="526DB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Ámbito Personal/Familiar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4077917" y="2115116"/>
            <a:ext cx="2207598" cy="47413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526DB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Economía y Sociedad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6515428" y="2115116"/>
            <a:ext cx="2207598" cy="474138"/>
          </a:xfrm>
          <a:prstGeom prst="rect">
            <a:avLst/>
          </a:prstGeom>
          <a:solidFill>
            <a:srgbClr val="526DB0"/>
          </a:solidFill>
          <a:ln>
            <a:solidFill>
              <a:srgbClr val="526DB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Presupuesto Público</a:t>
            </a:r>
          </a:p>
        </p:txBody>
      </p:sp>
      <p:cxnSp>
        <p:nvCxnSpPr>
          <p:cNvPr id="26" name="Conector recto 25"/>
          <p:cNvCxnSpPr/>
          <p:nvPr/>
        </p:nvCxnSpPr>
        <p:spPr>
          <a:xfrm>
            <a:off x="1384996" y="4560468"/>
            <a:ext cx="733803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CuadroTexto 27"/>
          <p:cNvSpPr txBox="1"/>
          <p:nvPr/>
        </p:nvSpPr>
        <p:spPr>
          <a:xfrm>
            <a:off x="361164" y="5232979"/>
            <a:ext cx="6875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526DB0"/>
                </a:solidFill>
              </a:rPr>
              <a:t>EFECTO</a:t>
            </a:r>
          </a:p>
        </p:txBody>
      </p:sp>
      <p:sp>
        <p:nvSpPr>
          <p:cNvPr id="29" name="CuadroTexto 28"/>
          <p:cNvSpPr txBox="1"/>
          <p:nvPr/>
        </p:nvSpPr>
        <p:spPr>
          <a:xfrm>
            <a:off x="65891" y="3483678"/>
            <a:ext cx="136358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>
                <a:solidFill>
                  <a:srgbClr val="526DB0"/>
                </a:solidFill>
              </a:rPr>
              <a:t>CARACTERISTICA DE DESIGUALDAD</a:t>
            </a:r>
          </a:p>
        </p:txBody>
      </p:sp>
      <p:sp>
        <p:nvSpPr>
          <p:cNvPr id="31" name="CuadroTexto 30"/>
          <p:cNvSpPr txBox="1"/>
          <p:nvPr/>
        </p:nvSpPr>
        <p:spPr>
          <a:xfrm>
            <a:off x="359687" y="6177096"/>
            <a:ext cx="290830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u="sng" dirty="0">
                <a:solidFill>
                  <a:schemeClr val="bg1">
                    <a:lumMod val="50000"/>
                  </a:schemeClr>
                </a:solidFill>
              </a:rPr>
              <a:t>Fuente</a:t>
            </a:r>
            <a:r>
              <a:rPr lang="es-ES" sz="1000" dirty="0">
                <a:solidFill>
                  <a:schemeClr val="bg1">
                    <a:lumMod val="50000"/>
                  </a:schemeClr>
                </a:solidFill>
              </a:rPr>
              <a:t>: INCLUSION </a:t>
            </a:r>
            <a:r>
              <a:rPr lang="es-ES" sz="1000" dirty="0" err="1">
                <a:solidFill>
                  <a:schemeClr val="bg1">
                    <a:lumMod val="50000"/>
                  </a:schemeClr>
                </a:solidFill>
              </a:rPr>
              <a:t>Consulting</a:t>
            </a:r>
            <a:r>
              <a:rPr lang="es-ES" sz="1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s-ES" sz="1000" dirty="0" err="1">
                <a:solidFill>
                  <a:schemeClr val="bg1">
                    <a:lumMod val="50000"/>
                  </a:schemeClr>
                </a:solidFill>
              </a:rPr>
              <a:t>Group</a:t>
            </a:r>
            <a:r>
              <a:rPr lang="es-ES" sz="1000" dirty="0">
                <a:solidFill>
                  <a:schemeClr val="bg1">
                    <a:lumMod val="50000"/>
                  </a:schemeClr>
                </a:solidFill>
              </a:rPr>
              <a:t> (2020) </a:t>
            </a:r>
            <a:endParaRPr 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672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P spid="20" grpId="0"/>
      <p:bldP spid="21" grpId="0"/>
      <p:bldP spid="22" grpId="0" animBg="1"/>
      <p:bldP spid="23" grpId="0" animBg="1"/>
      <p:bldP spid="2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58954" y="242203"/>
            <a:ext cx="7556313" cy="1116106"/>
          </a:xfrm>
        </p:spPr>
        <p:txBody>
          <a:bodyPr/>
          <a:lstStyle/>
          <a:p>
            <a:r>
              <a:rPr lang="es-ES" dirty="0"/>
              <a:t>Desigualdades de Género </a:t>
            </a:r>
            <a:br>
              <a:rPr lang="es-ES" dirty="0"/>
            </a:br>
            <a:r>
              <a:rPr lang="es-ES" sz="2400" dirty="0">
                <a:solidFill>
                  <a:schemeClr val="accent3"/>
                </a:solidFill>
              </a:rPr>
              <a:t>Derivados del Sistema de Pensiones</a:t>
            </a:r>
          </a:p>
        </p:txBody>
      </p:sp>
      <p:sp>
        <p:nvSpPr>
          <p:cNvPr id="8" name="Rectángulo 7"/>
          <p:cNvSpPr/>
          <p:nvPr/>
        </p:nvSpPr>
        <p:spPr>
          <a:xfrm>
            <a:off x="326112" y="6486891"/>
            <a:ext cx="8667705" cy="3089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7F7F7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Rectángulo 8"/>
          <p:cNvSpPr/>
          <p:nvPr/>
        </p:nvSpPr>
        <p:spPr>
          <a:xfrm>
            <a:off x="103707" y="6469730"/>
            <a:ext cx="136585" cy="3089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CuadroTexto 4"/>
          <p:cNvSpPr txBox="1"/>
          <p:nvPr/>
        </p:nvSpPr>
        <p:spPr>
          <a:xfrm>
            <a:off x="361164" y="6507596"/>
            <a:ext cx="1564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dirty="0">
                <a:solidFill>
                  <a:srgbClr val="FFFFFF"/>
                </a:solidFill>
                <a:latin typeface="Rockwell"/>
                <a:cs typeface="Rockwell"/>
              </a:rPr>
              <a:t>©</a:t>
            </a:r>
            <a:r>
              <a:rPr lang="es-ES" sz="800" dirty="0">
                <a:solidFill>
                  <a:schemeClr val="bg1"/>
                </a:solidFill>
                <a:latin typeface="Rockwell"/>
                <a:cs typeface="Rockwell"/>
              </a:rPr>
              <a:t>FernandoSolisSoberon2021</a:t>
            </a:r>
            <a:endParaRPr lang="es-ES" sz="10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5353757" y="6507596"/>
            <a:ext cx="36856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>
                <a:solidFill>
                  <a:srgbClr val="FFFFFF"/>
                </a:solidFill>
                <a:latin typeface="Rockwell"/>
                <a:cs typeface="Rockwell"/>
              </a:rPr>
              <a:t>“Seguridad Social con Perspectiva de Género: Responsabilidad Tripartita”</a:t>
            </a:r>
            <a:endParaRPr lang="es-ES" sz="800" dirty="0">
              <a:solidFill>
                <a:schemeClr val="bg1"/>
              </a:solidFill>
              <a:latin typeface="Rockwell"/>
              <a:cs typeface="Rockwell"/>
            </a:endParaRP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1088" y="891887"/>
            <a:ext cx="1878771" cy="1052110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456147" y="3145946"/>
            <a:ext cx="2903692" cy="816383"/>
          </a:xfrm>
          <a:prstGeom prst="rect">
            <a:avLst/>
          </a:prstGeom>
          <a:solidFill>
            <a:srgbClr val="526DB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ACCESO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32752" y="4261623"/>
            <a:ext cx="2903693" cy="816383"/>
          </a:xfrm>
          <a:prstGeom prst="rect">
            <a:avLst/>
          </a:prstGeom>
          <a:solidFill>
            <a:srgbClr val="526DB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CALCULO de PENSIONES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441126" y="5368890"/>
            <a:ext cx="2927088" cy="816383"/>
          </a:xfrm>
          <a:prstGeom prst="rect">
            <a:avLst/>
          </a:prstGeom>
          <a:solidFill>
            <a:srgbClr val="526DB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EDADES DE RETIRO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326112" y="1987262"/>
            <a:ext cx="84672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>
                <a:solidFill>
                  <a:srgbClr val="7F7F7F"/>
                </a:solidFill>
              </a:rPr>
              <a:t>Áreas Claves en el diseño de las futuras reformas a los Sistemas de Pensiones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3531474" y="5539261"/>
            <a:ext cx="53219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s-ES" sz="1400" dirty="0"/>
              <a:t>¿Extender todas las edades?</a:t>
            </a:r>
          </a:p>
          <a:p>
            <a:pPr marL="285750" indent="-285750">
              <a:buFont typeface="Arial"/>
              <a:buChar char="•"/>
            </a:pPr>
            <a:r>
              <a:rPr lang="es-ES" sz="1400" dirty="0"/>
              <a:t>¿Número de cotizaciones mínimas iguales o diferenciadas?</a:t>
            </a:r>
          </a:p>
        </p:txBody>
      </p:sp>
      <p:sp>
        <p:nvSpPr>
          <p:cNvPr id="16" name="CuadroTexto 15"/>
          <p:cNvSpPr txBox="1"/>
          <p:nvPr/>
        </p:nvSpPr>
        <p:spPr>
          <a:xfrm>
            <a:off x="3562655" y="4208626"/>
            <a:ext cx="49683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s-ES" sz="1400" dirty="0"/>
              <a:t>¿Tablas Actuariales Unisex o diferenciadas?</a:t>
            </a:r>
          </a:p>
          <a:p>
            <a:pPr marL="285750" indent="-285750">
              <a:buFont typeface="Arial"/>
              <a:buChar char="•"/>
            </a:pPr>
            <a:r>
              <a:rPr lang="es-ES" sz="1400" dirty="0"/>
              <a:t>¿A último salario o a salario promedio vida laboral?</a:t>
            </a:r>
          </a:p>
          <a:p>
            <a:pPr marL="285750" indent="-285750">
              <a:buFont typeface="Arial"/>
              <a:buChar char="•"/>
            </a:pPr>
            <a:r>
              <a:rPr lang="es-ES" sz="1400" dirty="0"/>
              <a:t>¿Esquemas de compensación a la mujer por vacíos de cotización?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3562654" y="3272809"/>
            <a:ext cx="52830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s-ES" sz="1400" dirty="0"/>
              <a:t>¿Bonificar con contribuciones períodos interrumpidos por cuidado de hijos?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3060" y="2356594"/>
            <a:ext cx="973238" cy="82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760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14" grpId="0" animBg="1"/>
      <p:bldP spid="4" grpId="0"/>
      <p:bldP spid="16" grpId="0"/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vantage">
  <a:themeElements>
    <a:clrScheme name="Esencial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Advantage">
      <a:maj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Rockwell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Advantage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6000000" scaled="1"/>
        </a:gradFill>
        <a:gradFill rotWithShape="1">
          <a:gsLst>
            <a:gs pos="0">
              <a:schemeClr val="phClr"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54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63500" dist="25400" dir="5400000" rotWithShape="0">
              <a:srgbClr val="808080">
                <a:alpha val="7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twoPt" dir="tl">
              <a:rot lat="0" lon="0" rev="4500000"/>
            </a:lightRig>
          </a:scene3d>
          <a:sp3d>
            <a:bevelT w="635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1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entaja.thmx</Template>
  <TotalTime>2009</TotalTime>
  <Words>937</Words>
  <Application>Microsoft Office PowerPoint</Application>
  <PresentationFormat>Presentación en pantalla (4:3)</PresentationFormat>
  <Paragraphs>139</Paragraphs>
  <Slides>10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Arial</vt:lpstr>
      <vt:lpstr>Calibri</vt:lpstr>
      <vt:lpstr>Rockwell</vt:lpstr>
      <vt:lpstr>Wingdings</vt:lpstr>
      <vt:lpstr>Advantage</vt:lpstr>
      <vt:lpstr>Diapositiva de think-cell</vt:lpstr>
      <vt:lpstr>“Seguridad Social con perspectiva de género: responsabilidad tripartita”</vt:lpstr>
      <vt:lpstr>Contenido</vt:lpstr>
      <vt:lpstr>Poniendo en contexto …. Latinoamérica y el Caribe Pre-Pandemia y Pandemia</vt:lpstr>
      <vt:lpstr>Protección Social, Seguridad Social  y Pensiones  Mapeando el escenario y evolución conceptual</vt:lpstr>
      <vt:lpstr>Desigualdad de Género en Pensiones Factores e Implicaciones</vt:lpstr>
      <vt:lpstr>Feminización del Envejecimiento Impacto en Protección Social</vt:lpstr>
      <vt:lpstr>Sectores Baja Productividad y  Afiliación a Sistema de Pensiones % de Mujeres</vt:lpstr>
      <vt:lpstr>Efectos de la desigualdad de género en pensiones  En términos de PIB y Bienestar Social</vt:lpstr>
      <vt:lpstr>Desigualdades de Género  Derivados del Sistema de Pensiones</vt:lpstr>
      <vt:lpstr>Reflexiones Finales  Con visión de Políticas Públicas y Empresariales</vt:lpstr>
    </vt:vector>
  </TitlesOfParts>
  <Company>Pers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“Seguridad Social con perspectiva de género: responsabilidad tripartita”</dc:title>
  <dc:creator>Alesia Rodriguez Pardo</dc:creator>
  <cp:lastModifiedBy>Claudia Tapia Calderon</cp:lastModifiedBy>
  <cp:revision>85</cp:revision>
  <dcterms:created xsi:type="dcterms:W3CDTF">2021-08-14T23:20:20Z</dcterms:created>
  <dcterms:modified xsi:type="dcterms:W3CDTF">2021-08-18T18:10:52Z</dcterms:modified>
</cp:coreProperties>
</file>